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586477674374034</c:v>
                </c:pt>
                <c:pt idx="1">
                  <c:v>27.906119464586745</c:v>
                </c:pt>
                <c:pt idx="2">
                  <c:v>29.772329834202978</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2.274816999999999</c:v>
                </c:pt>
                <c:pt idx="1">
                  <c:v>4.0210889999999999</c:v>
                </c:pt>
                <c:pt idx="2">
                  <c:v>3.7516609999999986</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861294674374033</c:v>
                </c:pt>
                <c:pt idx="1">
                  <c:v>31.927208464586744</c:v>
                </c:pt>
                <c:pt idx="2">
                  <c:v>33.523990834202976</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9.016078790073863</c:v>
                </c:pt>
                <c:pt idx="1">
                  <c:v>74.335694365457471</c:v>
                </c:pt>
                <c:pt idx="2">
                  <c:v>74.54774125286718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872331674412867</c:v>
                </c:pt>
                <c:pt idx="1">
                  <c:v>90.856145135961654</c:v>
                </c:pt>
                <c:pt idx="2">
                  <c:v>90.04078849491693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2.803311957515149</c:v>
                </c:pt>
                <c:pt idx="1">
                  <c:v>165.19183950141914</c:v>
                </c:pt>
                <c:pt idx="2">
                  <c:v>164.5885297477841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74.547741252867183</c:v>
                </c:pt>
                <c:pt idx="2">
                  <c:v>113.85883989842561</c:v>
                </c:pt>
                <c:pt idx="3">
                  <c:v>79.384125959966781</c:v>
                </c:pt>
                <c:pt idx="4">
                  <c:v>71.750027032131726</c:v>
                </c:pt>
                <c:pt idx="5">
                  <c:v>81.158313357503587</c:v>
                </c:pt>
                <c:pt idx="7">
                  <c:v>86.537826562006913</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90.040788494916939</c:v>
                </c:pt>
                <c:pt idx="2">
                  <c:v>98.903736046463735</c:v>
                </c:pt>
                <c:pt idx="3">
                  <c:v>51.774616341766901</c:v>
                </c:pt>
                <c:pt idx="4">
                  <c:v>95.223604780091165</c:v>
                </c:pt>
                <c:pt idx="5">
                  <c:v>59.732087875509691</c:v>
                </c:pt>
                <c:pt idx="7">
                  <c:v>76.408511260957866</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164.58852974778412</c:v>
                </c:pt>
                <c:pt idx="2">
                  <c:v>212.76257594488933</c:v>
                </c:pt>
                <c:pt idx="3">
                  <c:v>131.15874230173367</c:v>
                </c:pt>
                <c:pt idx="4">
                  <c:v>166.97363181222289</c:v>
                </c:pt>
                <c:pt idx="5">
                  <c:v>140.89040123301328</c:v>
                </c:pt>
                <c:pt idx="7">
                  <c:v>162.94633782296478</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7700669236230657</c:v>
                </c:pt>
                <c:pt idx="2">
                  <c:v>1.834838888376648</c:v>
                </c:pt>
                <c:pt idx="3">
                  <c:v>1.8369377092835701</c:v>
                </c:pt>
                <c:pt idx="4">
                  <c:v>1.89085413225534</c:v>
                </c:pt>
                <c:pt idx="6">
                  <c:v>3.951358413361119</c:v>
                </c:pt>
                <c:pt idx="7">
                  <c:v>3.951358413361119</c:v>
                </c:pt>
                <c:pt idx="8">
                  <c:v>3.95523568110413</c:v>
                </c:pt>
                <c:pt idx="9">
                  <c:v>3.98271324283687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6779879236230657</c:v>
                </c:pt>
                <c:pt idx="5">
                  <c:v>1.7987751322553398</c:v>
                </c:pt>
                <c:pt idx="10">
                  <c:v>1.80390624283687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477196475358224E-2</c:v>
                </c:pt>
                <c:pt idx="2">
                  <c:v>2.0988209069220626E-3</c:v>
                </c:pt>
                <c:pt idx="3">
                  <c:v>5.3916422971769795E-2</c:v>
                </c:pt>
                <c:pt idx="7">
                  <c:v>3.8772677430111155E-3</c:v>
                </c:pt>
                <c:pt idx="8">
                  <c:v>4.7207561732750092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4.595371889422084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9.2078999999999994E-2</c:v>
                </c:pt>
                <c:pt idx="5">
                  <c:v>2.198537</c:v>
                </c:pt>
                <c:pt idx="10">
                  <c:v>2.178806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106457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1.9730000000000025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7700669236230657</c:v>
                </c:pt>
                <c:pt idx="5">
                  <c:v>3.99731213225534</c:v>
                </c:pt>
                <c:pt idx="10">
                  <c:v>3.98271324283687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Klantenpotentieel regionaal</c:v>
                </c:pt>
                <c:pt idx="4">
                  <c:v>Loonkostensubsidie</c:v>
                </c:pt>
                <c:pt idx="5">
                  <c:v>Eenpersoonshuishoudens</c:v>
                </c:pt>
                <c:pt idx="6">
                  <c:v>Re-integratie klassiek</c:v>
                </c:pt>
                <c:pt idx="7">
                  <c:v>Omgevingsadressendichtheid</c:v>
                </c:pt>
                <c:pt idx="10">
                  <c:v>Overig</c:v>
                </c:pt>
              </c:strCache>
            </c:strRef>
          </c:cat>
          <c:val>
            <c:numRef>
              <c:f>Sheet1!$B$2:$B$12</c:f>
              <c:numCache>
                <c:formatCode>General</c:formatCode>
                <c:ptCount val="11"/>
                <c:pt idx="0">
                  <c:v>0.60802022111999998</c:v>
                </c:pt>
                <c:pt idx="1">
                  <c:v>0.4205755457280001</c:v>
                </c:pt>
                <c:pt idx="2">
                  <c:v>0.29879496816000001</c:v>
                </c:pt>
                <c:pt idx="3">
                  <c:v>0.17678449359999998</c:v>
                </c:pt>
                <c:pt idx="4">
                  <c:v>9.1355409080000019E-2</c:v>
                </c:pt>
                <c:pt idx="5">
                  <c:v>9.0430104960000007E-2</c:v>
                </c:pt>
                <c:pt idx="6">
                  <c:v>6.4128250025840008E-2</c:v>
                </c:pt>
                <c:pt idx="7">
                  <c:v>5.381725016304000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0845919999999998</c:v>
                </c:pt>
                <c:pt idx="1">
                  <c:v>7.3516999999999999E-2</c:v>
                </c:pt>
                <c:pt idx="2">
                  <c:v>2.0698000000000001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0898729758853334</c:v>
                </c:pt>
                <c:pt idx="1">
                  <c:v>0.52185999499363978</c:v>
                </c:pt>
                <c:pt idx="2">
                  <c:v>0.56930653104675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8302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0898729758853334</c:v>
                </c:pt>
                <c:pt idx="1">
                  <c:v>0.52185999499363978</c:v>
                </c:pt>
                <c:pt idx="2">
                  <c:v>0.59760853104676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934779648275956</c:v>
                </c:pt>
                <c:pt idx="1">
                  <c:v>21.566244937335306</c:v>
                </c:pt>
                <c:pt idx="2">
                  <c:v>23.5270076471923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9600793454004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934779648275956</c:v>
                </c:pt>
                <c:pt idx="1">
                  <c:v>21.566244937335306</c:v>
                </c:pt>
                <c:pt idx="2">
                  <c:v>24.6966084406463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23.527007647192331</c:v>
                </c:pt>
                <c:pt idx="2">
                  <c:v>26.652497515311882</c:v>
                </c:pt>
                <c:pt idx="3">
                  <c:v>22.077020844792479</c:v>
                </c:pt>
                <c:pt idx="4">
                  <c:v>22.344174674923678</c:v>
                </c:pt>
                <c:pt idx="5">
                  <c:v>22.598706679962277</c:v>
                </c:pt>
                <c:pt idx="7">
                  <c:v>23.41809992874758</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1.1696007934540045</c:v>
                </c:pt>
                <c:pt idx="2">
                  <c:v>1.1647238126621906</c:v>
                </c:pt>
                <c:pt idx="3">
                  <c:v>1.1547490667772708</c:v>
                </c:pt>
                <c:pt idx="4">
                  <c:v>1.1596238347501129</c:v>
                </c:pt>
                <c:pt idx="5">
                  <c:v>1.1437962885911626</c:v>
                </c:pt>
                <c:pt idx="7">
                  <c:v>1.1557232506951842</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24.696608440646337</c:v>
                </c:pt>
                <c:pt idx="2">
                  <c:v>27.817221327974071</c:v>
                </c:pt>
                <c:pt idx="3">
                  <c:v>23.231769911569753</c:v>
                </c:pt>
                <c:pt idx="4">
                  <c:v>23.503798509673786</c:v>
                </c:pt>
                <c:pt idx="5">
                  <c:v>23.742502968553438</c:v>
                </c:pt>
                <c:pt idx="7">
                  <c:v>24.573823179442762</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9404310071673929</c:v>
                </c:pt>
                <c:pt idx="2">
                  <c:v>0.49404310071673929</c:v>
                </c:pt>
                <c:pt idx="3">
                  <c:v>0.50819646568090271</c:v>
                </c:pt>
                <c:pt idx="4">
                  <c:v>0.52185999499363978</c:v>
                </c:pt>
                <c:pt idx="6">
                  <c:v>0.51925266633998857</c:v>
                </c:pt>
                <c:pt idx="7">
                  <c:v>0.51925266633998857</c:v>
                </c:pt>
                <c:pt idx="8">
                  <c:v>0.54334186787511229</c:v>
                </c:pt>
                <c:pt idx="9">
                  <c:v>0.56930653104675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0898729758853334</c:v>
                </c:pt>
                <c:pt idx="5">
                  <c:v>0.52185999499363978</c:v>
                </c:pt>
                <c:pt idx="10">
                  <c:v>0.56930653104675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4153364964163436E-2</c:v>
                </c:pt>
                <c:pt idx="3">
                  <c:v>1.3663529312737017E-2</c:v>
                </c:pt>
                <c:pt idx="7">
                  <c:v>2.4089201535123742E-2</c:v>
                </c:pt>
                <c:pt idx="8">
                  <c:v>2.5964663171647657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4944196871794019E-2</c:v>
                </c:pt>
                <c:pt idx="6">
                  <c:v>2.607328653651181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8302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8302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0898729758853334</c:v>
                </c:pt>
                <c:pt idx="5">
                  <c:v>0.52185999499363978</c:v>
                </c:pt>
                <c:pt idx="10">
                  <c:v>0.59760853104676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Omgevingsadressendichtheid</c:v>
                </c:pt>
                <c:pt idx="4">
                  <c:v>Eenouderhuishoudens</c:v>
                </c:pt>
                <c:pt idx="5">
                  <c:v>Huishoudens</c:v>
                </c:pt>
                <c:pt idx="6">
                  <c:v>Klantenpotentieel regionaal</c:v>
                </c:pt>
                <c:pt idx="7">
                  <c:v>Minderheden</c:v>
                </c:pt>
                <c:pt idx="8">
                  <c:v>Klantenpotentieel lokaal</c:v>
                </c:pt>
                <c:pt idx="9">
                  <c:v>Bijstandsontvangers</c:v>
                </c:pt>
                <c:pt idx="10">
                  <c:v>Overig</c:v>
                </c:pt>
              </c:strCache>
            </c:strRef>
          </c:cat>
          <c:val>
            <c:numRef>
              <c:f>Sheet1!$B$2:$B$12</c:f>
              <c:numCache>
                <c:formatCode>General</c:formatCode>
                <c:ptCount val="11"/>
                <c:pt idx="0">
                  <c:v>0.1454066718</c:v>
                </c:pt>
                <c:pt idx="1">
                  <c:v>0.11585131272</c:v>
                </c:pt>
                <c:pt idx="2">
                  <c:v>6.8031580968000008E-2</c:v>
                </c:pt>
                <c:pt idx="3">
                  <c:v>3.8369706134760005E-2</c:v>
                </c:pt>
                <c:pt idx="4">
                  <c:v>3.7964211999999997E-2</c:v>
                </c:pt>
                <c:pt idx="5">
                  <c:v>2.8737446400000005E-2</c:v>
                </c:pt>
                <c:pt idx="6">
                  <c:v>2.6446472000000002E-2</c:v>
                </c:pt>
                <c:pt idx="7">
                  <c:v>2.3889436999999999E-2</c:v>
                </c:pt>
                <c:pt idx="8">
                  <c:v>2.0752243199999999E-2</c:v>
                </c:pt>
                <c:pt idx="9">
                  <c:v>1.6607372080000002E-2</c:v>
                </c:pt>
                <c:pt idx="10">
                  <c:v>4.725007674400005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23.33639099963113</c:v>
                </c:pt>
                <c:pt idx="1">
                  <c:v>1153.2407415731361</c:v>
                </c:pt>
                <c:pt idx="2">
                  <c:v>1230.3632463097354</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04.86640891704019</c:v>
                </c:pt>
                <c:pt idx="1">
                  <c:v>166.17443590379369</c:v>
                </c:pt>
                <c:pt idx="2">
                  <c:v>155.04012728324651</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28.2027999166712</c:v>
                </c:pt>
                <c:pt idx="1">
                  <c:v>1319.4151774769298</c:v>
                </c:pt>
                <c:pt idx="2">
                  <c:v>1385.403373592981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8302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82642292110226678</c:v>
                </c:pt>
                <c:pt idx="1">
                  <c:v>5.2740564259467577</c:v>
                </c:pt>
                <c:pt idx="2">
                  <c:v>5.37959810433745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91551899999999997</c:v>
                </c:pt>
                <c:pt idx="2">
                  <c:v>1.1820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82642292110226678</c:v>
                </c:pt>
                <c:pt idx="1">
                  <c:v>6.1895754259467575</c:v>
                </c:pt>
                <c:pt idx="2">
                  <c:v>6.561638104337452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0.61986066058648</c:v>
                </c:pt>
                <c:pt idx="1">
                  <c:v>1013.2673248696942</c:v>
                </c:pt>
                <c:pt idx="2">
                  <c:v>1033.544304387598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75.89221902017292</c:v>
                </c:pt>
                <c:pt idx="2">
                  <c:v>227.0970220941402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0.61986066058648</c:v>
                </c:pt>
                <c:pt idx="1">
                  <c:v>1189.1595438898669</c:v>
                </c:pt>
                <c:pt idx="2">
                  <c:v>1260.641326481739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1033.5443043875989</c:v>
                </c:pt>
                <c:pt idx="2">
                  <c:v>1058.152503839505</c:v>
                </c:pt>
                <c:pt idx="3">
                  <c:v>950.68093309990991</c:v>
                </c:pt>
                <c:pt idx="4">
                  <c:v>916.02362166601836</c:v>
                </c:pt>
                <c:pt idx="5">
                  <c:v>1027.5023474150044</c:v>
                </c:pt>
                <c:pt idx="7">
                  <c:v>988.0898515051094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227.09702209414024</c:v>
                </c:pt>
                <c:pt idx="2">
                  <c:v>61.656783276450511</c:v>
                </c:pt>
                <c:pt idx="3">
                  <c:v>109.84964200477327</c:v>
                </c:pt>
                <c:pt idx="4">
                  <c:v>173.35592255125286</c:v>
                </c:pt>
                <c:pt idx="5">
                  <c:v>90.318219427436702</c:v>
                </c:pt>
                <c:pt idx="7">
                  <c:v>108.79514181497834</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1260.6413264817393</c:v>
                </c:pt>
                <c:pt idx="2">
                  <c:v>1119.8092871159556</c:v>
                </c:pt>
                <c:pt idx="3">
                  <c:v>1060.5305751046833</c:v>
                </c:pt>
                <c:pt idx="4">
                  <c:v>1089.3795442172711</c:v>
                </c:pt>
                <c:pt idx="5">
                  <c:v>1117.8205668424409</c:v>
                </c:pt>
                <c:pt idx="7">
                  <c:v>1096.8849933200877</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6335942053020278</c:v>
                </c:pt>
                <c:pt idx="2">
                  <c:v>0.76335942053020278</c:v>
                </c:pt>
                <c:pt idx="3">
                  <c:v>5.2483229712431472</c:v>
                </c:pt>
                <c:pt idx="4">
                  <c:v>5.2740564259467577</c:v>
                </c:pt>
                <c:pt idx="6">
                  <c:v>6.1624567977928715</c:v>
                </c:pt>
                <c:pt idx="7">
                  <c:v>6.0522782159488964</c:v>
                </c:pt>
                <c:pt idx="8">
                  <c:v>6.0522782159488964</c:v>
                </c:pt>
                <c:pt idx="9">
                  <c:v>6.29511710433745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82642292110226678</c:v>
                </c:pt>
                <c:pt idx="5">
                  <c:v>5.2740564259467568</c:v>
                </c:pt>
                <c:pt idx="10">
                  <c:v>5.379598104337452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4849635507129442</c:v>
                </c:pt>
                <c:pt idx="3">
                  <c:v>2.5733454703610843E-2</c:v>
                </c:pt>
                <c:pt idx="8">
                  <c:v>0.242838888388554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306350057206396E-2</c:v>
                </c:pt>
                <c:pt idx="6">
                  <c:v>2.7118628153884689E-2</c:v>
                </c:pt>
                <c:pt idx="7">
                  <c:v>0.1101785818439748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91551899999999997</c:v>
                </c:pt>
                <c:pt idx="10">
                  <c:v>1.18204</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91551899999999997</c:v>
                </c:pt>
                <c:pt idx="9">
                  <c:v>0.2665210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82642292110226678</c:v>
                </c:pt>
                <c:pt idx="5">
                  <c:v>6.1895754259467566</c:v>
                </c:pt>
                <c:pt idx="10">
                  <c:v>6.561638104337451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 kinderen)</c:v>
                </c:pt>
                <c:pt idx="2">
                  <c:v>Gem. Gestand. inkomen (huishoudens)</c:v>
                </c:pt>
                <c:pt idx="3">
                  <c:v>Ouders lang psychisch medicijngebruik</c:v>
                </c:pt>
                <c:pt idx="4">
                  <c:v>Uitkeringsont. min. bijstandsont.</c:v>
                </c:pt>
                <c:pt idx="5">
                  <c:v>Eenouderhuishoudens</c:v>
                </c:pt>
                <c:pt idx="6">
                  <c:v>Eenouderhuishoudens 2 of meer kinderen</c:v>
                </c:pt>
                <c:pt idx="7">
                  <c:v>BO leerlingen, leerlingengewicht 0,3</c:v>
                </c:pt>
                <c:pt idx="8">
                  <c:v>BO leerlingen, leerlingengewicht 1,2</c:v>
                </c:pt>
                <c:pt idx="9">
                  <c:v>Jeugdigen in gezinnen armoederisico</c:v>
                </c:pt>
                <c:pt idx="10">
                  <c:v>Overig</c:v>
                </c:pt>
              </c:strCache>
            </c:strRef>
          </c:cat>
          <c:val>
            <c:numRef>
              <c:f>Sheet1!$B$2:$B$12</c:f>
              <c:numCache>
                <c:formatCode>General</c:formatCode>
                <c:ptCount val="11"/>
                <c:pt idx="0">
                  <c:v>4.2793863137999999</c:v>
                </c:pt>
                <c:pt idx="1">
                  <c:v>-1.3515358326288001</c:v>
                </c:pt>
                <c:pt idx="2">
                  <c:v>-1.324176407008</c:v>
                </c:pt>
                <c:pt idx="3">
                  <c:v>1.313374822429479</c:v>
                </c:pt>
                <c:pt idx="4">
                  <c:v>1.3113215388000001</c:v>
                </c:pt>
                <c:pt idx="5">
                  <c:v>0.60250676199999997</c:v>
                </c:pt>
                <c:pt idx="6">
                  <c:v>0.44795023311999993</c:v>
                </c:pt>
                <c:pt idx="7">
                  <c:v>-0.30259941711999999</c:v>
                </c:pt>
                <c:pt idx="8">
                  <c:v>-0.19321328832000004</c:v>
                </c:pt>
                <c:pt idx="9">
                  <c:v>0.17865269488560001</c:v>
                </c:pt>
                <c:pt idx="10">
                  <c:v>0.4179306843791730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1.200412</c:v>
                </c:pt>
                <c:pt idx="1">
                  <c:v>0</c:v>
                </c:pt>
                <c:pt idx="6">
                  <c:v>-1.8371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781496485751331</c:v>
                </c:pt>
                <c:pt idx="1">
                  <c:v>8.001639075119467</c:v>
                </c:pt>
                <c:pt idx="2">
                  <c:v>8.69559653878838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8017719999999999</c:v>
                </c:pt>
                <c:pt idx="1">
                  <c:v>0</c:v>
                </c:pt>
                <c:pt idx="2">
                  <c:v>3.318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5799216485751328</c:v>
                </c:pt>
                <c:pt idx="1">
                  <c:v>8.001639075119467</c:v>
                </c:pt>
                <c:pt idx="2">
                  <c:v>8.72877653878838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4.26601606445659</c:v>
                </c:pt>
                <c:pt idx="1">
                  <c:v>330.67357116784308</c:v>
                </c:pt>
                <c:pt idx="2">
                  <c:v>359.351869525927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4.107349977378362</c:v>
                </c:pt>
                <c:pt idx="1">
                  <c:v>0</c:v>
                </c:pt>
                <c:pt idx="2">
                  <c:v>1.371187701462930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8.37336604183494</c:v>
                </c:pt>
                <c:pt idx="1">
                  <c:v>330.67357116784308</c:v>
                </c:pt>
                <c:pt idx="2">
                  <c:v>360.7230572273898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359.35186952592704</c:v>
                </c:pt>
                <c:pt idx="2">
                  <c:v>387.04104779084491</c:v>
                </c:pt>
                <c:pt idx="3">
                  <c:v>368.00501606455674</c:v>
                </c:pt>
                <c:pt idx="4">
                  <c:v>327.11345939230176</c:v>
                </c:pt>
                <c:pt idx="5">
                  <c:v>323.93956680255252</c:v>
                </c:pt>
                <c:pt idx="7">
                  <c:v>351.52477251256397</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1.3711877014629308</c:v>
                </c:pt>
                <c:pt idx="2">
                  <c:v>0.97623264818552535</c:v>
                </c:pt>
                <c:pt idx="3">
                  <c:v>0.98299460804645378</c:v>
                </c:pt>
                <c:pt idx="4">
                  <c:v>1.2652457804607613</c:v>
                </c:pt>
                <c:pt idx="5">
                  <c:v>0.59166181243238747</c:v>
                </c:pt>
                <c:pt idx="7">
                  <c:v>0.95403371228128186</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360.72305722738986</c:v>
                </c:pt>
                <c:pt idx="2">
                  <c:v>388.01728043903046</c:v>
                </c:pt>
                <c:pt idx="3">
                  <c:v>368.9880106726032</c:v>
                </c:pt>
                <c:pt idx="4">
                  <c:v>328.37870517276252</c:v>
                </c:pt>
                <c:pt idx="5">
                  <c:v>324.53122861498491</c:v>
                </c:pt>
                <c:pt idx="7">
                  <c:v>352.47880622484524</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71955603782667432</c:v>
                </c:pt>
                <c:pt idx="1">
                  <c:v>0.73786285843737798</c:v>
                </c:pt>
                <c:pt idx="2">
                  <c:v>0.74237373129211881</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71955603782667432</c:v>
                </c:pt>
                <c:pt idx="1">
                  <c:v>0.73786285843737798</c:v>
                </c:pt>
                <c:pt idx="2">
                  <c:v>0.74237373129211881</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5799216485751328</c:v>
                </c:pt>
                <c:pt idx="2">
                  <c:v>4.5919516742900139</c:v>
                </c:pt>
                <c:pt idx="3">
                  <c:v>9.3667324218598527</c:v>
                </c:pt>
                <c:pt idx="4">
                  <c:v>8.001639075119467</c:v>
                </c:pt>
                <c:pt idx="6">
                  <c:v>8.001639075119467</c:v>
                </c:pt>
                <c:pt idx="7">
                  <c:v>8.2837903158545689</c:v>
                </c:pt>
                <c:pt idx="8">
                  <c:v>8.2967244148718962</c:v>
                </c:pt>
                <c:pt idx="9">
                  <c:v>8.695596538788381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7781496485751331</c:v>
                </c:pt>
                <c:pt idx="5">
                  <c:v>8.001639075119467</c:v>
                </c:pt>
                <c:pt idx="10">
                  <c:v>8.695596538788381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2030025714880847E-2</c:v>
                </c:pt>
                <c:pt idx="2">
                  <c:v>4.7747807475698387</c:v>
                </c:pt>
                <c:pt idx="3">
                  <c:v>0.43667865325961441</c:v>
                </c:pt>
                <c:pt idx="6">
                  <c:v>0.28215124073510217</c:v>
                </c:pt>
                <c:pt idx="7">
                  <c:v>1.2934099017326941E-2</c:v>
                </c:pt>
                <c:pt idx="8">
                  <c:v>0.3988721239164850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8017719999999999</c:v>
                </c:pt>
                <c:pt idx="5">
                  <c:v>0</c:v>
                </c:pt>
                <c:pt idx="10">
                  <c:v>3.3180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3180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8017719999999999</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5799216485751328</c:v>
                </c:pt>
                <c:pt idx="5">
                  <c:v>8.001639075119467</c:v>
                </c:pt>
                <c:pt idx="10">
                  <c:v>8.728776538788380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Wajong</c:v>
                </c:pt>
                <c:pt idx="5">
                  <c:v>Gem. gestandaardiseerd inkomen 75 t/m 84</c:v>
                </c:pt>
                <c:pt idx="6">
                  <c:v>Klantenpotentieel lokaal</c:v>
                </c:pt>
                <c:pt idx="7">
                  <c:v>Uitkeringsont. min bijstandsont.</c:v>
                </c:pt>
                <c:pt idx="8">
                  <c:v>Huishoudens</c:v>
                </c:pt>
                <c:pt idx="9">
                  <c:v>Gem. gestandaardiseerd inkomen 85+</c:v>
                </c:pt>
                <c:pt idx="10">
                  <c:v>Overig</c:v>
                </c:pt>
              </c:strCache>
            </c:strRef>
          </c:cat>
          <c:val>
            <c:numRef>
              <c:f>Sheet1!$B$2:$B$12</c:f>
              <c:numCache>
                <c:formatCode>General</c:formatCode>
                <c:ptCount val="11"/>
                <c:pt idx="0">
                  <c:v>2.67243710384817</c:v>
                </c:pt>
                <c:pt idx="1">
                  <c:v>1.3242936252000002</c:v>
                </c:pt>
                <c:pt idx="2">
                  <c:v>0.81757170331200013</c:v>
                </c:pt>
                <c:pt idx="3">
                  <c:v>0.78826525960000005</c:v>
                </c:pt>
                <c:pt idx="4">
                  <c:v>0.36926080776000003</c:v>
                </c:pt>
                <c:pt idx="5">
                  <c:v>0.35628056524288798</c:v>
                </c:pt>
                <c:pt idx="6">
                  <c:v>0.33165159039999997</c:v>
                </c:pt>
                <c:pt idx="7">
                  <c:v>0.29421788760000001</c:v>
                </c:pt>
                <c:pt idx="8">
                  <c:v>0.28019010240000003</c:v>
                </c:pt>
                <c:pt idx="9">
                  <c:v>0.24490143081752402</c:v>
                </c:pt>
                <c:pt idx="10">
                  <c:v>1.216526462607798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3.318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896037898704002</c:v>
                </c:pt>
                <c:pt idx="1">
                  <c:v>2.0577743145093197</c:v>
                </c:pt>
                <c:pt idx="2">
                  <c:v>2.14125582064055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9990999999999999E-2</c:v>
                </c:pt>
                <c:pt idx="1">
                  <c:v>3.9990999999999999E-2</c:v>
                </c:pt>
                <c:pt idx="2">
                  <c:v>3.9990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295947898704001</c:v>
                </c:pt>
                <c:pt idx="1">
                  <c:v>2.0977653145093198</c:v>
                </c:pt>
                <c:pt idx="2">
                  <c:v>2.18124682064055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8.54071632982817</c:v>
                </c:pt>
                <c:pt idx="1">
                  <c:v>395.34568962715076</c:v>
                </c:pt>
                <c:pt idx="2">
                  <c:v>411.3844035812795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804662242640803</c:v>
                </c:pt>
                <c:pt idx="1">
                  <c:v>7.683189241114313</c:v>
                </c:pt>
                <c:pt idx="2">
                  <c:v>7.68318924111431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45.34537857246892</c:v>
                </c:pt>
                <c:pt idx="1">
                  <c:v>403.02887886826505</c:v>
                </c:pt>
                <c:pt idx="2">
                  <c:v>419.0675928223938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411.38440358127951</c:v>
                </c:pt>
                <c:pt idx="2">
                  <c:v>548.73403986846427</c:v>
                </c:pt>
                <c:pt idx="3">
                  <c:v>437.36309900622274</c:v>
                </c:pt>
                <c:pt idx="4">
                  <c:v>469.40982385391044</c:v>
                </c:pt>
                <c:pt idx="5">
                  <c:v>475.55209900031127</c:v>
                </c:pt>
                <c:pt idx="7">
                  <c:v>482.76476543222719</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7.683189241114313</c:v>
                </c:pt>
                <c:pt idx="2">
                  <c:v>8.589803754266212</c:v>
                </c:pt>
                <c:pt idx="3">
                  <c:v>11.093078758949881</c:v>
                </c:pt>
                <c:pt idx="4">
                  <c:v>7.9155277145026579</c:v>
                </c:pt>
                <c:pt idx="5">
                  <c:v>7.8644712890948201</c:v>
                </c:pt>
                <c:pt idx="7">
                  <c:v>8.8657203792033936</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419.06759282239381</c:v>
                </c:pt>
                <c:pt idx="2">
                  <c:v>557.32384362273046</c:v>
                </c:pt>
                <c:pt idx="3">
                  <c:v>448.45617776517253</c:v>
                </c:pt>
                <c:pt idx="4">
                  <c:v>477.32535156841305</c:v>
                </c:pt>
                <c:pt idx="5">
                  <c:v>483.41657028940608</c:v>
                </c:pt>
                <c:pt idx="7">
                  <c:v>491.6304858114305</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119078721995955</c:v>
                </c:pt>
                <c:pt idx="2">
                  <c:v>1.9119078721995955</c:v>
                </c:pt>
                <c:pt idx="3">
                  <c:v>2.0493575075234944</c:v>
                </c:pt>
                <c:pt idx="4">
                  <c:v>2.0977653145093198</c:v>
                </c:pt>
                <c:pt idx="6">
                  <c:v>2.0817735286474361</c:v>
                </c:pt>
                <c:pt idx="7">
                  <c:v>2.0817735286474361</c:v>
                </c:pt>
                <c:pt idx="8">
                  <c:v>2.0817735286474361</c:v>
                </c:pt>
                <c:pt idx="9">
                  <c:v>2.18124682064055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896037898704002</c:v>
                </c:pt>
                <c:pt idx="5">
                  <c:v>2.0577743145093197</c:v>
                </c:pt>
                <c:pt idx="10">
                  <c:v>2.141255820640559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3744963532389887</c:v>
                </c:pt>
                <c:pt idx="3">
                  <c:v>4.8407806985825148E-2</c:v>
                </c:pt>
                <c:pt idx="8">
                  <c:v>9.947329199312371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1768691767080454</c:v>
                </c:pt>
                <c:pt idx="6">
                  <c:v>1.59917858618837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9990999999999999E-2</c:v>
                </c:pt>
                <c:pt idx="5">
                  <c:v>3.9990999999999999E-2</c:v>
                </c:pt>
                <c:pt idx="10">
                  <c:v>3.9990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295947898704001</c:v>
                </c:pt>
                <c:pt idx="5">
                  <c:v>2.0977653145093198</c:v>
                </c:pt>
                <c:pt idx="10">
                  <c:v>2.18124682064055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and</c:v>
                </c:pt>
                <c:pt idx="3">
                  <c:v>Huishoudens laag inkomen (drempel)</c:v>
                </c:pt>
                <c:pt idx="4">
                  <c:v>Kernen</c:v>
                </c:pt>
                <c:pt idx="5">
                  <c:v>Omgevingsadressendichtheid</c:v>
                </c:pt>
                <c:pt idx="6">
                  <c:v>Inwoners</c:v>
                </c:pt>
                <c:pt idx="7">
                  <c:v>Minderheden</c:v>
                </c:pt>
                <c:pt idx="8">
                  <c:v>Extra groei leerlingen VO</c:v>
                </c:pt>
                <c:pt idx="9">
                  <c:v>Binnenwater</c:v>
                </c:pt>
                <c:pt idx="10">
                  <c:v>Overig</c:v>
                </c:pt>
              </c:strCache>
            </c:strRef>
          </c:cat>
          <c:val>
            <c:numRef>
              <c:f>Sheet1!$B$2:$B$12</c:f>
              <c:numCache>
                <c:formatCode>General</c:formatCode>
                <c:ptCount val="11"/>
                <c:pt idx="0">
                  <c:v>1.5320979960000001</c:v>
                </c:pt>
                <c:pt idx="1">
                  <c:v>0.21636600585599999</c:v>
                </c:pt>
                <c:pt idx="2">
                  <c:v>0.11796327451999999</c:v>
                </c:pt>
                <c:pt idx="3">
                  <c:v>9.5670844308000019E-2</c:v>
                </c:pt>
                <c:pt idx="4">
                  <c:v>4.9899991960000001E-2</c:v>
                </c:pt>
                <c:pt idx="5">
                  <c:v>4.7505350452559998E-2</c:v>
                </c:pt>
                <c:pt idx="6">
                  <c:v>4.0567463040000001E-2</c:v>
                </c:pt>
                <c:pt idx="7">
                  <c:v>3.3124584999999998E-2</c:v>
                </c:pt>
                <c:pt idx="8">
                  <c:v>3.4487643839999967E-3</c:v>
                </c:pt>
                <c:pt idx="9">
                  <c:v>3.1875043200000003E-3</c:v>
                </c:pt>
                <c:pt idx="10">
                  <c:v>1.424040799999470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9990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3112874852506662</c:v>
                </c:pt>
                <c:pt idx="1">
                  <c:v>0.18273046953671998</c:v>
                </c:pt>
                <c:pt idx="2">
                  <c:v>0.19097909900576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3112874852506662</c:v>
                </c:pt>
                <c:pt idx="1">
                  <c:v>0.18273046953671998</c:v>
                </c:pt>
                <c:pt idx="2">
                  <c:v>0.19097909900576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888913782000002</c:v>
                </c:pt>
                <c:pt idx="1">
                  <c:v>-3.8343809728799996</c:v>
                </c:pt>
                <c:pt idx="2">
                  <c:v>-3.6072560416800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7888913782000002</c:v>
                </c:pt>
                <c:pt idx="1">
                  <c:v>-3.8343809728799996</c:v>
                </c:pt>
                <c:pt idx="2">
                  <c:v>-3.6072560416800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3933594589341762</c:v>
                </c:pt>
                <c:pt idx="1">
                  <c:v>7.5514699370493421</c:v>
                </c:pt>
                <c:pt idx="2">
                  <c:v>7.89235056640052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3933594589341762</c:v>
                </c:pt>
                <c:pt idx="1">
                  <c:v>7.5514699370493421</c:v>
                </c:pt>
                <c:pt idx="2">
                  <c:v>7.892350566400529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7.8923505664005296</c:v>
                </c:pt>
                <c:pt idx="2">
                  <c:v>8.4351075071834778</c:v>
                </c:pt>
                <c:pt idx="3">
                  <c:v>7.3167094592539774</c:v>
                </c:pt>
                <c:pt idx="4">
                  <c:v>7.6184645566807667</c:v>
                </c:pt>
                <c:pt idx="5">
                  <c:v>8.0234902796682466</c:v>
                </c:pt>
                <c:pt idx="7">
                  <c:v>7.8484429506966169</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0</c:v>
                </c:pt>
                <c:pt idx="2">
                  <c:v>0</c:v>
                </c:pt>
                <c:pt idx="3">
                  <c:v>1.0074657818332642</c:v>
                </c:pt>
                <c:pt idx="4">
                  <c:v>0</c:v>
                </c:pt>
                <c:pt idx="5">
                  <c:v>0</c:v>
                </c:pt>
                <c:pt idx="7">
                  <c:v>0.25186644545831605</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7.8923505664005296</c:v>
                </c:pt>
                <c:pt idx="2">
                  <c:v>8.4351075071834778</c:v>
                </c:pt>
                <c:pt idx="3">
                  <c:v>8.3241752410872412</c:v>
                </c:pt>
                <c:pt idx="4">
                  <c:v>7.6184645566807667</c:v>
                </c:pt>
                <c:pt idx="5">
                  <c:v>8.0234902796682466</c:v>
                </c:pt>
                <c:pt idx="7">
                  <c:v>8.1003093961549339</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2712470873619852</c:v>
                </c:pt>
                <c:pt idx="2">
                  <c:v>0.12712470873619852</c:v>
                </c:pt>
                <c:pt idx="3">
                  <c:v>0.17896336294941625</c:v>
                </c:pt>
                <c:pt idx="4">
                  <c:v>0.18273046953671998</c:v>
                </c:pt>
                <c:pt idx="6">
                  <c:v>0.18209598547266037</c:v>
                </c:pt>
                <c:pt idx="7">
                  <c:v>0.18209598547266037</c:v>
                </c:pt>
                <c:pt idx="8">
                  <c:v>0.18209598547266037</c:v>
                </c:pt>
                <c:pt idx="9">
                  <c:v>0.19097909900576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3112874852506662</c:v>
                </c:pt>
                <c:pt idx="5">
                  <c:v>0.18273046953672001</c:v>
                </c:pt>
                <c:pt idx="10">
                  <c:v>0.19097909900576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183865421321774E-2</c:v>
                </c:pt>
                <c:pt idx="3">
                  <c:v>3.7671065873037379E-3</c:v>
                </c:pt>
                <c:pt idx="8">
                  <c:v>8.8831135330996736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0040397888681106E-3</c:v>
                </c:pt>
                <c:pt idx="6">
                  <c:v>6.3448406405963698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3112874852506662</c:v>
                </c:pt>
                <c:pt idx="5">
                  <c:v>0.18273046953672001</c:v>
                </c:pt>
                <c:pt idx="10">
                  <c:v>0.19097909900576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Omgevingsadressendichtheid</c:v>
                </c:pt>
                <c:pt idx="4">
                  <c:v>Eenouderhuishoudens</c:v>
                </c:pt>
                <c:pt idx="5">
                  <c:v>Huishoudens</c:v>
                </c:pt>
                <c:pt idx="6">
                  <c:v>Klantenpotentieel regionaal</c:v>
                </c:pt>
                <c:pt idx="7">
                  <c:v>Minderheden</c:v>
                </c:pt>
                <c:pt idx="8">
                  <c:v>Klantenpotentieel lokaal</c:v>
                </c:pt>
                <c:pt idx="9">
                  <c:v>Bijstandsontvangers</c:v>
                </c:pt>
                <c:pt idx="10">
                  <c:v>Overig</c:v>
                </c:pt>
              </c:strCache>
            </c:strRef>
          </c:cat>
          <c:val>
            <c:numRef>
              <c:f>Sheet1!$B$2:$B$12</c:f>
              <c:numCache>
                <c:formatCode>General</c:formatCode>
                <c:ptCount val="11"/>
                <c:pt idx="0">
                  <c:v>8.6002215000000007E-2</c:v>
                </c:pt>
                <c:pt idx="1">
                  <c:v>3.0035525519999998E-2</c:v>
                </c:pt>
                <c:pt idx="2">
                  <c:v>1.6560620856000002E-2</c:v>
                </c:pt>
                <c:pt idx="3">
                  <c:v>9.3017469417600012E-3</c:v>
                </c:pt>
                <c:pt idx="4">
                  <c:v>9.2472380000000014E-3</c:v>
                </c:pt>
                <c:pt idx="5">
                  <c:v>7.02470912E-3</c:v>
                </c:pt>
                <c:pt idx="6">
                  <c:v>6.3064664000000003E-3</c:v>
                </c:pt>
                <c:pt idx="7">
                  <c:v>5.8096479999999997E-3</c:v>
                </c:pt>
                <c:pt idx="8">
                  <c:v>4.9959104000000002E-3</c:v>
                </c:pt>
                <c:pt idx="9">
                  <c:v>3.9542843600000009E-3</c:v>
                </c:pt>
                <c:pt idx="10">
                  <c:v>1.174073440800002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3166281611999997</c:v>
                </c:pt>
                <c:pt idx="1">
                  <c:v>4.4213597449399993</c:v>
                </c:pt>
                <c:pt idx="2">
                  <c:v>4.6371059914400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03409</c:v>
                </c:pt>
                <c:pt idx="1">
                  <c:v>0.119298</c:v>
                </c:pt>
                <c:pt idx="2">
                  <c:v>0.12004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4200371611999998</c:v>
                </c:pt>
                <c:pt idx="1">
                  <c:v>4.540657744939999</c:v>
                </c:pt>
                <c:pt idx="2">
                  <c:v>4.757152991439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191.63178739730557</c:v>
                </c:pt>
                <c:pt idx="2">
                  <c:v>197.22297363265648</c:v>
                </c:pt>
                <c:pt idx="3">
                  <c:v>180.99867827291584</c:v>
                </c:pt>
                <c:pt idx="4">
                  <c:v>183.21685699478465</c:v>
                </c:pt>
                <c:pt idx="5">
                  <c:v>170.91708891570278</c:v>
                </c:pt>
                <c:pt idx="7">
                  <c:v>183.08889945401495</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4.9610298371766266</c:v>
                </c:pt>
                <c:pt idx="2">
                  <c:v>3.5671623347201056</c:v>
                </c:pt>
                <c:pt idx="3">
                  <c:v>4.2248859394442144</c:v>
                </c:pt>
                <c:pt idx="4">
                  <c:v>4.5034290172888181</c:v>
                </c:pt>
                <c:pt idx="5">
                  <c:v>5.3090621619372547</c:v>
                </c:pt>
                <c:pt idx="7">
                  <c:v>4.4011348633475986</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196.5928172344822</c:v>
                </c:pt>
                <c:pt idx="2">
                  <c:v>200.79013596737653</c:v>
                </c:pt>
                <c:pt idx="3">
                  <c:v>185.22356421236003</c:v>
                </c:pt>
                <c:pt idx="4">
                  <c:v>187.72028601207347</c:v>
                </c:pt>
                <c:pt idx="5">
                  <c:v>176.22615107764003</c:v>
                </c:pt>
                <c:pt idx="7">
                  <c:v>187.49003431736253</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3898448368795364</c:v>
                </c:pt>
                <c:pt idx="2">
                  <c:v>4.3898448368795364</c:v>
                </c:pt>
                <c:pt idx="3">
                  <c:v>4.3898448368795364</c:v>
                </c:pt>
                <c:pt idx="4">
                  <c:v>4.5247687449399994</c:v>
                </c:pt>
                <c:pt idx="6">
                  <c:v>4.540657744939999</c:v>
                </c:pt>
                <c:pt idx="7">
                  <c:v>4.540657744939999</c:v>
                </c:pt>
                <c:pt idx="8">
                  <c:v>4.540657744939999</c:v>
                </c:pt>
                <c:pt idx="9">
                  <c:v>4.7564039914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3166281611999997</c:v>
                </c:pt>
                <c:pt idx="5">
                  <c:v>4.4213597449399993</c:v>
                </c:pt>
                <c:pt idx="10">
                  <c:v>4.6371059914400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0.134923908060463</c:v>
                </c:pt>
                <c:pt idx="8">
                  <c:v>0.2157462465000010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019232432046342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03409</c:v>
                </c:pt>
                <c:pt idx="5">
                  <c:v>0.119298</c:v>
                </c:pt>
                <c:pt idx="10">
                  <c:v>0.12004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5889E-2</c:v>
                </c:pt>
                <c:pt idx="9">
                  <c:v>7.4899999999999967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4200371611999998</c:v>
                </c:pt>
                <c:pt idx="5">
                  <c:v>4.540657744939999</c:v>
                </c:pt>
                <c:pt idx="10">
                  <c:v>4.75715299143999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Klantenpotentieel regionaal</c:v>
                </c:pt>
                <c:pt idx="4">
                  <c:v>Opp. historische kernen &lt;40 ha</c:v>
                </c:pt>
                <c:pt idx="10">
                  <c:v>Overig</c:v>
                </c:pt>
              </c:strCache>
            </c:strRef>
          </c:cat>
          <c:val>
            <c:numRef>
              <c:f>Sheet1!$B$2:$B$12</c:f>
              <c:numCache>
                <c:formatCode>General</c:formatCode>
                <c:ptCount val="11"/>
                <c:pt idx="0">
                  <c:v>2.0209617885600002</c:v>
                </c:pt>
                <c:pt idx="1">
                  <c:v>1.30662272</c:v>
                </c:pt>
                <c:pt idx="2">
                  <c:v>1.13049921088</c:v>
                </c:pt>
                <c:pt idx="3">
                  <c:v>0.17902227200000004</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5.83808572368693</c:v>
                </c:pt>
                <c:pt idx="1">
                  <c:v>-158.45859049838828</c:v>
                </c:pt>
                <c:pt idx="2">
                  <c:v>-149.072487051822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5.83808572368693</c:v>
                </c:pt>
                <c:pt idx="1">
                  <c:v>-158.45859049838828</c:v>
                </c:pt>
                <c:pt idx="2">
                  <c:v>-149.0724870518224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20047</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7168356355016785</c:v>
                </c:pt>
                <c:pt idx="1">
                  <c:v>5.9310824625023484</c:v>
                </c:pt>
                <c:pt idx="2">
                  <c:v>6.228180034528885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2112100000000001</c:v>
                </c:pt>
                <c:pt idx="1">
                  <c:v>0.12112100000000001</c:v>
                </c:pt>
                <c:pt idx="2">
                  <c:v>0.121121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8379566355016781</c:v>
                </c:pt>
                <c:pt idx="1">
                  <c:v>6.052203462502348</c:v>
                </c:pt>
                <c:pt idx="2">
                  <c:v>6.349301034528885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5.13493338961371</c:v>
                </c:pt>
                <c:pt idx="1">
                  <c:v>245.10630888926144</c:v>
                </c:pt>
                <c:pt idx="2">
                  <c:v>257.3840827559668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9817381647678198</c:v>
                </c:pt>
                <c:pt idx="1">
                  <c:v>5.0054136705512855</c:v>
                </c:pt>
                <c:pt idx="2">
                  <c:v>5.005413670551285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0.11667155438153</c:v>
                </c:pt>
                <c:pt idx="1">
                  <c:v>250.11172255981273</c:v>
                </c:pt>
                <c:pt idx="2">
                  <c:v>262.3894964265181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257.38408275596686</c:v>
                </c:pt>
                <c:pt idx="2">
                  <c:v>271.93269092705793</c:v>
                </c:pt>
                <c:pt idx="3">
                  <c:v>319.98185652419016</c:v>
                </c:pt>
                <c:pt idx="4">
                  <c:v>245.42211814951207</c:v>
                </c:pt>
                <c:pt idx="5">
                  <c:v>225.80162463293937</c:v>
                </c:pt>
                <c:pt idx="7">
                  <c:v>265.78457255842488</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5.0054136705512855</c:v>
                </c:pt>
                <c:pt idx="2">
                  <c:v>1.6830745149730197</c:v>
                </c:pt>
                <c:pt idx="3">
                  <c:v>5.3464537536291985</c:v>
                </c:pt>
                <c:pt idx="4">
                  <c:v>2.3571105909408239</c:v>
                </c:pt>
                <c:pt idx="5">
                  <c:v>4.9788216693018228</c:v>
                </c:pt>
                <c:pt idx="7">
                  <c:v>3.5913651322112163</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262.38949642651812</c:v>
                </c:pt>
                <c:pt idx="2">
                  <c:v>273.61576544203098</c:v>
                </c:pt>
                <c:pt idx="3">
                  <c:v>325.32831027781936</c:v>
                </c:pt>
                <c:pt idx="4">
                  <c:v>247.77922874045288</c:v>
                </c:pt>
                <c:pt idx="5">
                  <c:v>230.78044630224119</c:v>
                </c:pt>
                <c:pt idx="7">
                  <c:v>269.37593769063614</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8379566355016781</c:v>
                </c:pt>
                <c:pt idx="2">
                  <c:v>5.8710828498346972</c:v>
                </c:pt>
                <c:pt idx="3">
                  <c:v>5.8710828498346972</c:v>
                </c:pt>
                <c:pt idx="4">
                  <c:v>6.052203462502348</c:v>
                </c:pt>
                <c:pt idx="6">
                  <c:v>6.052203462502348</c:v>
                </c:pt>
                <c:pt idx="7">
                  <c:v>6.0596838041614616</c:v>
                </c:pt>
                <c:pt idx="8">
                  <c:v>6.0596838041614616</c:v>
                </c:pt>
                <c:pt idx="9">
                  <c:v>6.349301034528885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7168356355016785</c:v>
                </c:pt>
                <c:pt idx="5">
                  <c:v>5.9310824625023484</c:v>
                </c:pt>
                <c:pt idx="10">
                  <c:v>6.228180034528885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648276254636882E-2</c:v>
                </c:pt>
                <c:pt idx="3">
                  <c:v>0.18112061266765087</c:v>
                </c:pt>
                <c:pt idx="6">
                  <c:v>3.0746020389322625E-2</c:v>
                </c:pt>
                <c:pt idx="8">
                  <c:v>0.2896172303674234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3.3565482133498079E-3</c:v>
                </c:pt>
                <c:pt idx="7">
                  <c:v>2.326567873020887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2112100000000001</c:v>
                </c:pt>
                <c:pt idx="5">
                  <c:v>0.12112100000000001</c:v>
                </c:pt>
                <c:pt idx="10">
                  <c:v>0.121121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8379566355016781</c:v>
                </c:pt>
                <c:pt idx="5">
                  <c:v>6.052203462502348</c:v>
                </c:pt>
                <c:pt idx="10">
                  <c:v>6.349301034528885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pp. bebouwing kern *bodemfactor kern</c:v>
                </c:pt>
                <c:pt idx="2">
                  <c:v>Omgevingsadressendichtheid</c:v>
                </c:pt>
                <c:pt idx="3">
                  <c:v>Inwoners</c:v>
                </c:pt>
                <c:pt idx="4">
                  <c:v>Woonruimten * bodemfactor kern</c:v>
                </c:pt>
                <c:pt idx="5">
                  <c:v>Oppervlak bebouwing woonkernen</c:v>
                </c:pt>
                <c:pt idx="6">
                  <c:v>Land</c:v>
                </c:pt>
                <c:pt idx="7">
                  <c:v>Land * bodemfactor gemeente</c:v>
                </c:pt>
                <c:pt idx="8">
                  <c:v>Bedrijfsvestigingen</c:v>
                </c:pt>
                <c:pt idx="9">
                  <c:v>Oppervlak bebouwing buitengebied</c:v>
                </c:pt>
                <c:pt idx="10">
                  <c:v>Overig</c:v>
                </c:pt>
              </c:strCache>
            </c:strRef>
          </c:cat>
          <c:val>
            <c:numRef>
              <c:f>Sheet1!$B$2:$B$12</c:f>
              <c:numCache>
                <c:formatCode>General</c:formatCode>
                <c:ptCount val="11"/>
                <c:pt idx="0">
                  <c:v>1.0278864481600001</c:v>
                </c:pt>
                <c:pt idx="1">
                  <c:v>0.66237429804000003</c:v>
                </c:pt>
                <c:pt idx="2">
                  <c:v>0.64863074656380004</c:v>
                </c:pt>
                <c:pt idx="3">
                  <c:v>0.63659711232000005</c:v>
                </c:pt>
                <c:pt idx="4">
                  <c:v>0.59138420380000001</c:v>
                </c:pt>
                <c:pt idx="5">
                  <c:v>0.48988628416000002</c:v>
                </c:pt>
                <c:pt idx="6">
                  <c:v>0.38616149935999999</c:v>
                </c:pt>
                <c:pt idx="7">
                  <c:v>0.35128062424000006</c:v>
                </c:pt>
                <c:pt idx="8">
                  <c:v>0.31787321384000006</c:v>
                </c:pt>
                <c:pt idx="9">
                  <c:v>0.29121711736000006</c:v>
                </c:pt>
                <c:pt idx="10">
                  <c:v>0.82488848668508385</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0.12112100000000001</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92489624700270867</c:v>
                </c:pt>
                <c:pt idx="1">
                  <c:v>-0.95396730275282404</c:v>
                </c:pt>
                <c:pt idx="2">
                  <c:v>-1.0062199472505438</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92489624700270867</c:v>
                </c:pt>
                <c:pt idx="1">
                  <c:v>-0.95396730275282404</c:v>
                </c:pt>
                <c:pt idx="2">
                  <c:v>-1.0062199472505438</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8.041222679336514</c:v>
                </c:pt>
                <c:pt idx="1">
                  <c:v>-39.423394609175304</c:v>
                </c:pt>
                <c:pt idx="2">
                  <c:v>-41.582773256076692</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8.041222679336514</c:v>
                </c:pt>
                <c:pt idx="1">
                  <c:v>-39.423394609175304</c:v>
                </c:pt>
                <c:pt idx="2">
                  <c:v>-41.582773256076692</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41.582773256076692</c:v>
                </c:pt>
                <c:pt idx="2">
                  <c:v>-39.086940181275793</c:v>
                </c:pt>
                <c:pt idx="3">
                  <c:v>-42.748210466881567</c:v>
                </c:pt>
                <c:pt idx="4">
                  <c:v>-38.365844745251529</c:v>
                </c:pt>
                <c:pt idx="5">
                  <c:v>-33.923846605675159</c:v>
                </c:pt>
                <c:pt idx="7">
                  <c:v>-38.531210499771014</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41.582773256076692</c:v>
                </c:pt>
                <c:pt idx="2">
                  <c:v>-39.086940181275793</c:v>
                </c:pt>
                <c:pt idx="3">
                  <c:v>-42.748210466881567</c:v>
                </c:pt>
                <c:pt idx="4">
                  <c:v>-38.365844745251529</c:v>
                </c:pt>
                <c:pt idx="5">
                  <c:v>-33.923846605675159</c:v>
                </c:pt>
                <c:pt idx="7">
                  <c:v>-38.531210499771014</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149.07248705182246</c:v>
                </c:pt>
                <c:pt idx="2">
                  <c:v>-124.84602613008197</c:v>
                </c:pt>
                <c:pt idx="3">
                  <c:v>-129.07817272998756</c:v>
                </c:pt>
                <c:pt idx="4">
                  <c:v>-123.05820810644326</c:v>
                </c:pt>
                <c:pt idx="5">
                  <c:v>-110.3893673146376</c:v>
                </c:pt>
                <c:pt idx="7">
                  <c:v>-121.84294357028759</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149.07248705182246</c:v>
                </c:pt>
                <c:pt idx="2">
                  <c:v>-124.84602613008197</c:v>
                </c:pt>
                <c:pt idx="3">
                  <c:v>-129.07817272998756</c:v>
                </c:pt>
                <c:pt idx="4">
                  <c:v>-123.05820810644326</c:v>
                </c:pt>
                <c:pt idx="5">
                  <c:v>-110.3893673146376</c:v>
                </c:pt>
                <c:pt idx="7">
                  <c:v>-121.84294357028759</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92489624700270867</c:v>
                </c:pt>
                <c:pt idx="2">
                  <c:v>-0.92479589973768672</c:v>
                </c:pt>
                <c:pt idx="3">
                  <c:v>-0.95396730275282404</c:v>
                </c:pt>
                <c:pt idx="4">
                  <c:v>-0.95396730275282404</c:v>
                </c:pt>
                <c:pt idx="6">
                  <c:v>-0.95943225162140011</c:v>
                </c:pt>
                <c:pt idx="7">
                  <c:v>-0.95943225162140011</c:v>
                </c:pt>
                <c:pt idx="8">
                  <c:v>-1.0062199472505438</c:v>
                </c:pt>
                <c:pt idx="9">
                  <c:v>-1.006219947250543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92489624700270867</c:v>
                </c:pt>
                <c:pt idx="5">
                  <c:v>-0.95396730275282404</c:v>
                </c:pt>
                <c:pt idx="10">
                  <c:v>-1.006219947250543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003472650219514E-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3">
                  <c:v>2.9171403015137327E-2</c:v>
                </c:pt>
                <c:pt idx="6">
                  <c:v>5.4649488685760981E-3</c:v>
                </c:pt>
                <c:pt idx="8">
                  <c:v>4.6787695629143609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92489624700270867</c:v>
                </c:pt>
                <c:pt idx="5">
                  <c:v>-0.95396730275282404</c:v>
                </c:pt>
                <c:pt idx="10">
                  <c:v>-1.006219947250543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mgevingsadressendichtheid</c:v>
                </c:pt>
                <c:pt idx="4">
                  <c:v>Land</c:v>
                </c:pt>
                <c:pt idx="5">
                  <c:v>Land * bodemfactor gemeente</c:v>
                </c:pt>
                <c:pt idx="6">
                  <c:v>Oeverlengte *dichtheid *bodemf. gem.</c:v>
                </c:pt>
                <c:pt idx="7">
                  <c:v>Oeverlengte * bodemfactor gemeente</c:v>
                </c:pt>
                <c:pt idx="10">
                  <c:v>Overig</c:v>
                </c:pt>
              </c:strCache>
            </c:strRef>
          </c:cat>
          <c:val>
            <c:numRef>
              <c:f>Sheet1!$B$2:$B$12</c:f>
              <c:numCache>
                <c:formatCode>General</c:formatCode>
                <c:ptCount val="11"/>
                <c:pt idx="0">
                  <c:v>-1.17338719628</c:v>
                </c:pt>
                <c:pt idx="1">
                  <c:v>0.34287407648000007</c:v>
                </c:pt>
                <c:pt idx="2">
                  <c:v>-0.21336925272000001</c:v>
                </c:pt>
                <c:pt idx="3">
                  <c:v>5.0162992435920012E-2</c:v>
                </c:pt>
                <c:pt idx="4">
                  <c:v>-4.0785905160000004E-2</c:v>
                </c:pt>
                <c:pt idx="5">
                  <c:v>1.7989742680000004E-2</c:v>
                </c:pt>
                <c:pt idx="6">
                  <c:v>5.9578000335360004E-3</c:v>
                </c:pt>
                <c:pt idx="7">
                  <c:v>4.337795279999999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270707689736</c:v>
                </c:pt>
                <c:pt idx="1">
                  <c:v>1.7894082506698796</c:v>
                </c:pt>
                <c:pt idx="2">
                  <c:v>1.88766114313504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270707689736</c:v>
                </c:pt>
                <c:pt idx="1">
                  <c:v>1.7894082506698796</c:v>
                </c:pt>
                <c:pt idx="2">
                  <c:v>1.88766114313504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1.034868957907292</c:v>
                </c:pt>
                <c:pt idx="1">
                  <c:v>73.948601151743105</c:v>
                </c:pt>
                <c:pt idx="2">
                  <c:v>78.00897359843955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1.034868957907292</c:v>
                </c:pt>
                <c:pt idx="1">
                  <c:v>73.948601151743105</c:v>
                </c:pt>
                <c:pt idx="2">
                  <c:v>78.00897359843955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78.008973598439553</c:v>
                </c:pt>
                <c:pt idx="2">
                  <c:v>80.975745235994566</c:v>
                </c:pt>
                <c:pt idx="3">
                  <c:v>92.212030751435947</c:v>
                </c:pt>
                <c:pt idx="4">
                  <c:v>73.586629398447698</c:v>
                </c:pt>
                <c:pt idx="5">
                  <c:v>72.238400525235917</c:v>
                </c:pt>
                <c:pt idx="7">
                  <c:v>79.753201477778532</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78.008973598439553</c:v>
                </c:pt>
                <c:pt idx="2">
                  <c:v>80.975745235994566</c:v>
                </c:pt>
                <c:pt idx="3">
                  <c:v>92.212030751435947</c:v>
                </c:pt>
                <c:pt idx="4">
                  <c:v>73.586629398447698</c:v>
                </c:pt>
                <c:pt idx="5">
                  <c:v>72.238400525235917</c:v>
                </c:pt>
                <c:pt idx="7">
                  <c:v>79.753201477778532</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7270707689736</c:v>
                </c:pt>
                <c:pt idx="2">
                  <c:v>1.7347193340839731</c:v>
                </c:pt>
                <c:pt idx="3">
                  <c:v>1.7347193340839731</c:v>
                </c:pt>
                <c:pt idx="4">
                  <c:v>1.7894082506698796</c:v>
                </c:pt>
                <c:pt idx="6">
                  <c:v>1.7894082506698796</c:v>
                </c:pt>
                <c:pt idx="7">
                  <c:v>1.7998899995898312</c:v>
                </c:pt>
                <c:pt idx="8">
                  <c:v>1.7998899995898312</c:v>
                </c:pt>
                <c:pt idx="9">
                  <c:v>1.88766114313504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7270707689736</c:v>
                </c:pt>
                <c:pt idx="5">
                  <c:v>1.7894082506698796</c:v>
                </c:pt>
                <c:pt idx="10">
                  <c:v>1.88766114313504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6485651103729629E-3</c:v>
                </c:pt>
                <c:pt idx="3">
                  <c:v>5.4688916585906654E-2</c:v>
                </c:pt>
                <c:pt idx="6">
                  <c:v>1.0481748919951598E-2</c:v>
                </c:pt>
                <c:pt idx="8">
                  <c:v>8.7771143545209068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7270707689736</c:v>
                </c:pt>
                <c:pt idx="5">
                  <c:v>1.7894082506698796</c:v>
                </c:pt>
                <c:pt idx="10">
                  <c:v>1.88766114313504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Woz waarde niet woningen (in mln)</c:v>
                </c:pt>
                <c:pt idx="3">
                  <c:v>Kernen met minstens 500 adressen</c:v>
                </c:pt>
                <c:pt idx="4">
                  <c:v>Land</c:v>
                </c:pt>
                <c:pt idx="5">
                  <c:v>Opp. bebouwing totaal</c:v>
                </c:pt>
                <c:pt idx="6">
                  <c:v>Klantenpotentieel regionaal</c:v>
                </c:pt>
                <c:pt idx="7">
                  <c:v>Minderheden</c:v>
                </c:pt>
                <c:pt idx="8">
                  <c:v>Kernen</c:v>
                </c:pt>
                <c:pt idx="9">
                  <c:v>Huishoudens laag inkomen (drempel)</c:v>
                </c:pt>
                <c:pt idx="10">
                  <c:v>Overig</c:v>
                </c:pt>
              </c:strCache>
            </c:strRef>
          </c:cat>
          <c:val>
            <c:numRef>
              <c:f>Sheet1!$B$2:$B$12</c:f>
              <c:numCache>
                <c:formatCode>General</c:formatCode>
                <c:ptCount val="11"/>
                <c:pt idx="0">
                  <c:v>1.0790232471200001</c:v>
                </c:pt>
                <c:pt idx="1">
                  <c:v>0.21991987412304001</c:v>
                </c:pt>
                <c:pt idx="2">
                  <c:v>0.178929180612</c:v>
                </c:pt>
                <c:pt idx="3">
                  <c:v>8.9495660800000015E-2</c:v>
                </c:pt>
                <c:pt idx="4">
                  <c:v>6.5779288120000015E-2</c:v>
                </c:pt>
                <c:pt idx="5">
                  <c:v>4.6896819840000006E-2</c:v>
                </c:pt>
                <c:pt idx="6">
                  <c:v>4.0686880000000002E-2</c:v>
                </c:pt>
                <c:pt idx="7">
                  <c:v>3.9612482000000004E-2</c:v>
                </c:pt>
                <c:pt idx="8">
                  <c:v>3.5470576960000007E-2</c:v>
                </c:pt>
                <c:pt idx="9">
                  <c:v>3.1423892760000002E-2</c:v>
                </c:pt>
                <c:pt idx="10">
                  <c:v>6.042324080000027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6274504046169995</c:v>
                </c:pt>
                <c:pt idx="1">
                  <c:v>2.7157818697461007</c:v>
                </c:pt>
                <c:pt idx="2">
                  <c:v>2.8522163173738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6274504046169995</c:v>
                </c:pt>
                <c:pt idx="1">
                  <c:v>2.7157818697461007</c:v>
                </c:pt>
                <c:pt idx="2">
                  <c:v>2.8522163173738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8.06771704919177</c:v>
                </c:pt>
                <c:pt idx="1">
                  <c:v>112.23166665617408</c:v>
                </c:pt>
                <c:pt idx="2">
                  <c:v>117.8699197195553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8.06771704919177</c:v>
                </c:pt>
                <c:pt idx="1">
                  <c:v>112.23166665617408</c:v>
                </c:pt>
                <c:pt idx="2">
                  <c:v>117.8699197195553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835668942796322</c:v>
                </c:pt>
                <c:pt idx="2">
                  <c:v>-3.835668942796322</c:v>
                </c:pt>
                <c:pt idx="3">
                  <c:v>-3.8343809728799996</c:v>
                </c:pt>
                <c:pt idx="4">
                  <c:v>-3.8343809728799996</c:v>
                </c:pt>
                <c:pt idx="6">
                  <c:v>-3.8475429332011806</c:v>
                </c:pt>
                <c:pt idx="7">
                  <c:v>-3.8475429332011806</c:v>
                </c:pt>
                <c:pt idx="8">
                  <c:v>-3.6072560416800004</c:v>
                </c:pt>
                <c:pt idx="9">
                  <c:v>-3.6072560416800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7888913782000002</c:v>
                </c:pt>
                <c:pt idx="5">
                  <c:v>-3.8343809728799996</c:v>
                </c:pt>
                <c:pt idx="10">
                  <c:v>-3.6072560416800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5154693307295079E-2</c:v>
                </c:pt>
                <c:pt idx="7">
                  <c:v>0.9452218332062787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6777564596321895E-2</c:v>
                </c:pt>
                <c:pt idx="3">
                  <c:v>3.386672339097254E-2</c:v>
                </c:pt>
                <c:pt idx="6">
                  <c:v>1.3161960321180792E-2</c:v>
                </c:pt>
                <c:pt idx="8">
                  <c:v>0.7049349416850987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7888913782000002</c:v>
                </c:pt>
                <c:pt idx="5">
                  <c:v>-3.8343809728799996</c:v>
                </c:pt>
                <c:pt idx="10">
                  <c:v>-3.6072560416800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C$2:$C$10</c:f>
              <c:numCache>
                <c:formatCode>General</c:formatCode>
                <c:ptCount val="9"/>
                <c:pt idx="0">
                  <c:v>117.86991971955536</c:v>
                </c:pt>
                <c:pt idx="2">
                  <c:v>115.14920290821766</c:v>
                </c:pt>
                <c:pt idx="3">
                  <c:v>120.0595056203401</c:v>
                </c:pt>
                <c:pt idx="4">
                  <c:v>115.32766936766458</c:v>
                </c:pt>
                <c:pt idx="5">
                  <c:v>115.0652956887909</c:v>
                </c:pt>
                <c:pt idx="7">
                  <c:v>116.40041839625331</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D$2:$D$10</c:f>
              <c:numCache>
                <c:formatCode>General</c:formatCode>
                <c:ptCount val="9"/>
                <c:pt idx="0">
                  <c:v>0</c:v>
                </c:pt>
                <c:pt idx="2">
                  <c:v>0</c:v>
                </c:pt>
                <c:pt idx="3">
                  <c:v>3.2260472832849438</c:v>
                </c:pt>
                <c:pt idx="4">
                  <c:v>0</c:v>
                </c:pt>
                <c:pt idx="5">
                  <c:v>3.2362486477490222</c:v>
                </c:pt>
                <c:pt idx="7">
                  <c:v>1.6155739827584914</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utten</c:v>
                </c:pt>
                <c:pt idx="2">
                  <c:v>Haaksbergen</c:v>
                </c:pt>
                <c:pt idx="3">
                  <c:v>De Wolden</c:v>
                </c:pt>
                <c:pt idx="4">
                  <c:v>Wierden</c:v>
                </c:pt>
                <c:pt idx="5">
                  <c:v>Neder-Betuwe</c:v>
                </c:pt>
                <c:pt idx="7">
                  <c:v>4 gemeenten</c:v>
                </c:pt>
                <c:pt idx="8">
                  <c:v>Landelijk</c:v>
                </c:pt>
              </c:strCache>
            </c:strRef>
          </c:cat>
          <c:val>
            <c:numRef>
              <c:f>Sheet1!$B$2:$B$10</c:f>
              <c:numCache>
                <c:formatCode>General</c:formatCode>
                <c:ptCount val="9"/>
                <c:pt idx="0">
                  <c:v>117.86991971955536</c:v>
                </c:pt>
                <c:pt idx="2">
                  <c:v>115.14920290821766</c:v>
                </c:pt>
                <c:pt idx="3">
                  <c:v>123.28555290362506</c:v>
                </c:pt>
                <c:pt idx="4">
                  <c:v>115.32766936766458</c:v>
                </c:pt>
                <c:pt idx="5">
                  <c:v>118.30154433653993</c:v>
                </c:pt>
                <c:pt idx="7">
                  <c:v>118.01599237901181</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6222730245905486</c:v>
                </c:pt>
                <c:pt idx="2">
                  <c:v>2.6222730245905486</c:v>
                </c:pt>
                <c:pt idx="3">
                  <c:v>2.6327926092794725</c:v>
                </c:pt>
                <c:pt idx="4">
                  <c:v>2.7157818697461007</c:v>
                </c:pt>
                <c:pt idx="6">
                  <c:v>2.7157818697461007</c:v>
                </c:pt>
                <c:pt idx="7">
                  <c:v>2.7195189334925214</c:v>
                </c:pt>
                <c:pt idx="8">
                  <c:v>2.7195189334925214</c:v>
                </c:pt>
                <c:pt idx="9">
                  <c:v>2.8522163173738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6274504046169995</c:v>
                </c:pt>
                <c:pt idx="5">
                  <c:v>2.7157818697461007</c:v>
                </c:pt>
                <c:pt idx="10">
                  <c:v>2.8522163173738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0519584688923842E-2</c:v>
                </c:pt>
                <c:pt idx="3">
                  <c:v>8.2989260466628328E-2</c:v>
                </c:pt>
                <c:pt idx="6">
                  <c:v>4.8543248382392065E-3</c:v>
                </c:pt>
                <c:pt idx="8">
                  <c:v>0.1326973838812791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1773800264509886E-3</c:v>
                </c:pt>
                <c:pt idx="7">
                  <c:v>1.1172610918185955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6274504046169995</c:v>
                </c:pt>
                <c:pt idx="5">
                  <c:v>2.7157818697461007</c:v>
                </c:pt>
                <c:pt idx="10">
                  <c:v>2.8522163173738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Klantenpotentieel regionaal</c:v>
                </c:pt>
                <c:pt idx="5">
                  <c:v>Bedrijfsvestigingen</c:v>
                </c:pt>
                <c:pt idx="6">
                  <c:v>Bewoonde oorden 1930</c:v>
                </c:pt>
                <c:pt idx="7">
                  <c:v>Minderheden</c:v>
                </c:pt>
                <c:pt idx="8">
                  <c:v>Land</c:v>
                </c:pt>
                <c:pt idx="9">
                  <c:v>Minderheden (drempel)</c:v>
                </c:pt>
                <c:pt idx="10">
                  <c:v>Overig</c:v>
                </c:pt>
              </c:strCache>
            </c:strRef>
          </c:cat>
          <c:val>
            <c:numRef>
              <c:f>Sheet1!$B$2:$B$12</c:f>
              <c:numCache>
                <c:formatCode>General</c:formatCode>
                <c:ptCount val="11"/>
                <c:pt idx="0">
                  <c:v>1.9905361912800001</c:v>
                </c:pt>
                <c:pt idx="1">
                  <c:v>0.60885900920000013</c:v>
                </c:pt>
                <c:pt idx="2">
                  <c:v>0.28248488112000003</c:v>
                </c:pt>
                <c:pt idx="3">
                  <c:v>-5.7305405266200003E-2</c:v>
                </c:pt>
                <c:pt idx="4">
                  <c:v>-5.3299812800000006E-2</c:v>
                </c:pt>
                <c:pt idx="5">
                  <c:v>3.2920054439999999E-2</c:v>
                </c:pt>
                <c:pt idx="6">
                  <c:v>1.979174912E-2</c:v>
                </c:pt>
                <c:pt idx="7">
                  <c:v>1.4359696000000002E-2</c:v>
                </c:pt>
                <c:pt idx="8">
                  <c:v>1.38699542800000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2.3700359999999998</c:v>
                </c:pt>
                <c:pt idx="1">
                  <c:v>-0.49186978567999995</c:v>
                </c:pt>
                <c:pt idx="2">
                  <c:v>-0.41730005100000006</c:v>
                </c:pt>
                <c:pt idx="3">
                  <c:v>-0.38441378500000001</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779879236230657</c:v>
                </c:pt>
                <c:pt idx="1">
                  <c:v>1.7987751322553398</c:v>
                </c:pt>
                <c:pt idx="2">
                  <c:v>1.80390624283688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2078999999999994E-2</c:v>
                </c:pt>
                <c:pt idx="1">
                  <c:v>2.198537</c:v>
                </c:pt>
                <c:pt idx="2">
                  <c:v>2.178806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700669236230657</c:v>
                </c:pt>
                <c:pt idx="1">
                  <c:v>3.99731213225534</c:v>
                </c:pt>
                <c:pt idx="2">
                  <c:v>3.98271324283687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3.379585875882981</cx:pt>
          <cx:pt idx="1">-3.6072560416800004</cx:pt>
          <cx:pt idx="2">29.772329834202978</cx:pt>
          <cx:pt idx="3">3.7516609999999986</cx:pt>
          <cx:pt idx="4">33.523990834202976</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Putt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Putten is ca. 34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1228259002"/>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9,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Putten is ca. 34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3668442199"/>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518304299"/>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2126196536"/>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016683844"/>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9,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Putten is ca. 34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07101445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22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8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91,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Putten ca. 1.385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224905082"/>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Putt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8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8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8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2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0805838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6311541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7785447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7 me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01746811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47941192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00437773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71129126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75322376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80798009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01229531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2046157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14891524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00172524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5811550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5294799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4927570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52231687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9932535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12086542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90500940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15584394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8799992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95680292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0185495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58494999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72224081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5349303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44087539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160733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7825161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7743642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15578927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8217508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753754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877</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20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20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4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1724004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6323795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79461287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8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60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558138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97633899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75780161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4896552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85170401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74442167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23019725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77855777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1272830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5369326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77546186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9166644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18414054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7676619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46856644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89315226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5117858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1918117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4241923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877</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20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20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635167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51482288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8529324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8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60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63581803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9033535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xtra groei 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0179482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221497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8366723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7153991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5558428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84249949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7637825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69695579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09784541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4230388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22056468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7685186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0906993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8194718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59289885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7103678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6691501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4031053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41309534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25498453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8196921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90755157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1688580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03954866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3753492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868445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91776564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93383015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0939255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9489223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8547658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2185719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buitengebie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00685676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98764403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45624065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21080908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202118089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69643771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2491114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24403681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200093115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52015953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70427322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16748009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380967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4420346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0024197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79397742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39126244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3196450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Putt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284629028"/>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3,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61861863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8180955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0443704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2511857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4307760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2381727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4559215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1436193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31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4.1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6461187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4855208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7292393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2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3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7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00842192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0656782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25778256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3873532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68488135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utt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89466619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9,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Putten is ca. 34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739316584"/>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22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8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91</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Putten ca. 1.385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353922025"/>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Putt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4.198</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Haaksberg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277</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De Wold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11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Wierd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35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Neder-Betuw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034</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131791039"/>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Putt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8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8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8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2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utt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172722214"/>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2819980199"/>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3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1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1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Putt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03</Words>
  <Application>Microsoft Office PowerPoint</Application>
  <PresentationFormat>Widescreen</PresentationFormat>
  <Paragraphs>2184</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Putten is ca. 34 mln (1/3)</vt:lpstr>
      <vt:lpstr>Totale uitkering voor Putten is ca. 34 mln (2/3)</vt:lpstr>
      <vt:lpstr>Totale uitkering voor Putten is ca. 34 mln (3/3)</vt:lpstr>
      <vt:lpstr>Per inwoner ontvangt Putten ca. 1.385 euro</vt:lpstr>
      <vt:lpstr>Dit is ca. 2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Putten is ca. 34 mln</vt:lpstr>
      <vt:lpstr>Per inwoner ontvangt Putten ca. 1.385 euro</vt:lpstr>
      <vt:lpstr>Dit is ca. €2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6:17:01Z</dcterms:modified>
</cp:coreProperties>
</file>